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handoutMasterIdLst>
    <p:handoutMasterId r:id="rId39"/>
  </p:handoutMasterIdLst>
  <p:sldIdLst>
    <p:sldId id="266" r:id="rId12"/>
    <p:sldId id="304" r:id="rId13"/>
    <p:sldId id="305" r:id="rId14"/>
    <p:sldId id="309" r:id="rId15"/>
    <p:sldId id="314" r:id="rId16"/>
    <p:sldId id="316" r:id="rId17"/>
    <p:sldId id="317" r:id="rId18"/>
    <p:sldId id="318" r:id="rId19"/>
    <p:sldId id="319" r:id="rId20"/>
    <p:sldId id="321" r:id="rId21"/>
    <p:sldId id="320" r:id="rId22"/>
    <p:sldId id="324" r:id="rId23"/>
    <p:sldId id="345" r:id="rId24"/>
    <p:sldId id="325" r:id="rId25"/>
    <p:sldId id="342" r:id="rId26"/>
    <p:sldId id="329" r:id="rId27"/>
    <p:sldId id="335" r:id="rId28"/>
    <p:sldId id="336" r:id="rId29"/>
    <p:sldId id="338" r:id="rId30"/>
    <p:sldId id="341" r:id="rId31"/>
    <p:sldId id="344" r:id="rId32"/>
    <p:sldId id="332" r:id="rId33"/>
    <p:sldId id="346" r:id="rId34"/>
    <p:sldId id="349" r:id="rId35"/>
    <p:sldId id="350" r:id="rId36"/>
    <p:sldId id="351" r:id="rId37"/>
    <p:sldId id="352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F20"/>
    <a:srgbClr val="FFFF00"/>
    <a:srgbClr val="1E2328"/>
    <a:srgbClr val="000000"/>
    <a:srgbClr val="59595B"/>
    <a:srgbClr val="F0F0F0"/>
    <a:srgbClr val="93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15" autoAdjust="0"/>
    <p:restoredTop sz="96485" autoAdjust="0"/>
  </p:normalViewPr>
  <p:slideViewPr>
    <p:cSldViewPr snapToGrid="0">
      <p:cViewPr>
        <p:scale>
          <a:sx n="50" d="100"/>
          <a:sy n="50" d="100"/>
        </p:scale>
        <p:origin x="-259" y="610"/>
      </p:cViewPr>
      <p:guideLst/>
    </p:cSldViewPr>
  </p:slideViewPr>
  <p:outlineViewPr>
    <p:cViewPr>
      <p:scale>
        <a:sx n="33" d="100"/>
        <a:sy n="33" d="100"/>
      </p:scale>
      <p:origin x="0" y="-141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8/1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US" smtClean="0"/>
              <a:t>11/8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US" smtClean="0"/>
              <a:pPr/>
              <a:t>11/8/2022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1B3DAEE-D892-459A-B3A6-6C9C620868B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5167BC-1318-460A-BE3F-83F3EBA9BE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634994"/>
            <a:ext cx="5435250" cy="1116000"/>
          </a:xfrm>
        </p:spPr>
        <p:txBody>
          <a:bodyPr/>
          <a:lstStyle/>
          <a:p>
            <a:r>
              <a:rPr lang="en-US" dirty="0"/>
              <a:t>The implications of picking A FSM over </a:t>
            </a:r>
            <a:r>
              <a:rPr lang="en-US" dirty="0" err="1"/>
              <a:t>microstore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E870F2D-8831-429B-944F-311201CA6E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ost </a:t>
            </a:r>
            <a:r>
              <a:rPr lang="en-US" dirty="0" err="1"/>
              <a:t>Buursink</a:t>
            </a:r>
            <a:br>
              <a:rPr lang="en-US" dirty="0"/>
            </a:br>
            <a:r>
              <a:rPr lang="en-US" dirty="0"/>
              <a:t>Fabian </a:t>
            </a:r>
            <a:r>
              <a:rPr lang="en-US" dirty="0" err="1"/>
              <a:t>Widlund</a:t>
            </a:r>
            <a:br>
              <a:rPr lang="en-US" dirty="0"/>
            </a:br>
            <a:r>
              <a:rPr lang="en-US" dirty="0"/>
              <a:t>Emil </a:t>
            </a:r>
            <a:r>
              <a:rPr lang="en-US" dirty="0" err="1"/>
              <a:t>Imhagen</a:t>
            </a:r>
            <a:endParaRPr lang="en-US" dirty="0"/>
          </a:p>
          <a:p>
            <a:r>
              <a:rPr lang="en-US" dirty="0" err="1"/>
              <a:t>Guus</a:t>
            </a:r>
            <a:r>
              <a:rPr lang="en-US" dirty="0"/>
              <a:t> </a:t>
            </a:r>
            <a:r>
              <a:rPr lang="en-US" dirty="0" err="1"/>
              <a:t>branderhorst</a:t>
            </a:r>
            <a:endParaRPr lang="en-US" dirty="0"/>
          </a:p>
          <a:p>
            <a:r>
              <a:rPr lang="en-US" dirty="0"/>
              <a:t>Stach Redek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oup 7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381A12-C7B6-44BD-BC32-E8DADCB06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lectrical Engineering, EEMCS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E6FEC605-39DC-45E3-8D08-1DD3B9F29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21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4D4D0C-FA35-55FE-B1B0-A266DAF6110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09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Just stopping </a:t>
            </a:r>
            <a:r>
              <a:rPr lang="nl-NL" dirty="0" err="1"/>
              <a:t>the</a:t>
            </a:r>
            <a:r>
              <a:rPr lang="nl-NL" dirty="0"/>
              <a:t> program counter </a:t>
            </a:r>
            <a:r>
              <a:rPr lang="nl-NL" dirty="0" err="1"/>
              <a:t>doesn’t</a:t>
            </a:r>
            <a:r>
              <a:rPr lang="nl-NL" dirty="0"/>
              <a:t> </a:t>
            </a:r>
            <a:r>
              <a:rPr lang="nl-NL" dirty="0" err="1"/>
              <a:t>work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92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Most </a:t>
            </a:r>
            <a:r>
              <a:rPr lang="nl-NL" dirty="0" err="1"/>
              <a:t>efficient</a:t>
            </a:r>
            <a:r>
              <a:rPr lang="nl-NL" dirty="0"/>
              <a:t> solution? Stop </a:t>
            </a:r>
            <a:r>
              <a:rPr lang="nl-NL" dirty="0" err="1"/>
              <a:t>the</a:t>
            </a:r>
            <a:r>
              <a:rPr lang="nl-NL" dirty="0"/>
              <a:t> controller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halt?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51C17D-5E5B-6D97-08D9-6E4CBF8F3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C6DD4-0DA7-60AE-7620-875F0869C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943" y="3036832"/>
            <a:ext cx="10078422" cy="959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D1D531-6CE5-4AB4-7219-688260546A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440" y="1071771"/>
            <a:ext cx="2181225" cy="5410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B161CB-45AA-EC1F-0C27-1E631986C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937" y="5649114"/>
            <a:ext cx="10144125" cy="59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9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F732413-FB05-748E-B3E5-9145ECB889D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Jump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empty </a:t>
            </a:r>
            <a:r>
              <a:rPr lang="nl-NL" dirty="0" err="1"/>
              <a:t>location</a:t>
            </a:r>
            <a:r>
              <a:rPr lang="nl-NL" dirty="0"/>
              <a:t>. </a:t>
            </a:r>
            <a:r>
              <a:rPr lang="nl-NL" dirty="0" err="1"/>
              <a:t>Problem</a:t>
            </a:r>
            <a:r>
              <a:rPr lang="nl-NL" dirty="0"/>
              <a:t> </a:t>
            </a:r>
            <a:r>
              <a:rPr lang="nl-NL" dirty="0" err="1"/>
              <a:t>solved</a:t>
            </a:r>
            <a:r>
              <a:rPr lang="nl-NL" dirty="0"/>
              <a:t>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Halting</a:t>
            </a:r>
            <a:r>
              <a:rPr lang="nl-NL" dirty="0"/>
              <a:t> in microstor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69375-C585-7B48-DF43-AA8EB8F7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045" y="913611"/>
            <a:ext cx="3648075" cy="1628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30D1DA-31C0-A300-F418-87EB274DC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4142"/>
            <a:ext cx="54102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8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datapath</a:t>
            </a:r>
            <a:r>
              <a:rPr lang="nl-NL" dirty="0"/>
              <a:t>/ALU/memory </a:t>
            </a:r>
            <a:r>
              <a:rPr lang="nl-NL" dirty="0" err="1"/>
              <a:t>may</a:t>
            </a:r>
            <a:r>
              <a:rPr lang="nl-NL" dirty="0"/>
              <a:t> </a:t>
            </a:r>
            <a:r>
              <a:rPr lang="nl-NL" dirty="0" err="1"/>
              <a:t>need</a:t>
            </a:r>
            <a:r>
              <a:rPr lang="nl-NL" dirty="0"/>
              <a:t> more </a:t>
            </a:r>
            <a:r>
              <a:rPr lang="nl-NL" dirty="0" err="1"/>
              <a:t>than</a:t>
            </a:r>
            <a:br>
              <a:rPr lang="nl-NL" dirty="0"/>
            </a:b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get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</a:t>
            </a:r>
            <a:r>
              <a:rPr lang="nl-NL" dirty="0" err="1"/>
              <a:t>done</a:t>
            </a:r>
            <a:endParaRPr lang="nl-NL" dirty="0"/>
          </a:p>
          <a:p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roller </a:t>
            </a:r>
            <a:r>
              <a:rPr lang="nl-NL" dirty="0" err="1"/>
              <a:t>keeps</a:t>
            </a:r>
            <a:r>
              <a:rPr lang="nl-NL" dirty="0"/>
              <a:t> </a:t>
            </a:r>
            <a:r>
              <a:rPr lang="nl-NL" dirty="0" err="1"/>
              <a:t>pushing</a:t>
            </a:r>
            <a:r>
              <a:rPr lang="nl-NL" dirty="0"/>
              <a:t> </a:t>
            </a:r>
            <a:r>
              <a:rPr lang="nl-NL" dirty="0" err="1"/>
              <a:t>instructions</a:t>
            </a:r>
            <a:br>
              <a:rPr lang="nl-NL" dirty="0"/>
            </a:br>
            <a:r>
              <a:rPr lang="nl-NL" dirty="0">
                <a:sym typeface="Wingdings" panose="05000000000000000000" pitchFamily="2" charset="2"/>
              </a:rPr>
              <a:t>-&gt; </a:t>
            </a:r>
            <a:r>
              <a:rPr lang="nl-NL" dirty="0" err="1">
                <a:sym typeface="Wingdings" panose="05000000000000000000" pitchFamily="2" charset="2"/>
              </a:rPr>
              <a:t>problem</a:t>
            </a:r>
            <a:r>
              <a:rPr lang="nl-NL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 w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88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Metastabilit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irst solution: </a:t>
            </a:r>
            <a:r>
              <a:rPr lang="nl-NL" dirty="0" err="1"/>
              <a:t>can</a:t>
            </a:r>
            <a:r>
              <a:rPr lang="nl-NL" dirty="0"/>
              <a:t> we get </a:t>
            </a:r>
            <a:r>
              <a:rPr lang="nl-NL" dirty="0" err="1"/>
              <a:t>every</a:t>
            </a:r>
            <a:r>
              <a:rPr lang="nl-NL" dirty="0"/>
              <a:t> </a:t>
            </a:r>
            <a:r>
              <a:rPr lang="nl-NL" dirty="0" err="1"/>
              <a:t>operation</a:t>
            </a:r>
            <a:r>
              <a:rPr lang="nl-NL" dirty="0"/>
              <a:t> </a:t>
            </a:r>
            <a:r>
              <a:rPr lang="nl-NL" dirty="0" err="1"/>
              <a:t>done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</a:t>
            </a:r>
            <a:r>
              <a:rPr lang="nl-NL" dirty="0" err="1"/>
              <a:t>cycle</a:t>
            </a:r>
            <a:r>
              <a:rPr lang="nl-NL" dirty="0"/>
              <a:t>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0BA5D5E3-B12A-4045-B1E3-207C5BD0E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" y="3017520"/>
            <a:ext cx="5024384" cy="364733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28B07E3A-FACE-86BF-A462-D727204FE3E1}"/>
              </a:ext>
            </a:extLst>
          </p:cNvPr>
          <p:cNvSpPr/>
          <p:nvPr/>
        </p:nvSpPr>
        <p:spPr>
          <a:xfrm flipH="1">
            <a:off x="5387132" y="4407931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8EA1EB6-9D3B-4E11-BBED-D689A06927A4}"/>
              </a:ext>
            </a:extLst>
          </p:cNvPr>
          <p:cNvSpPr/>
          <p:nvPr/>
        </p:nvSpPr>
        <p:spPr>
          <a:xfrm flipH="1">
            <a:off x="5387132" y="5949895"/>
            <a:ext cx="2237478" cy="8686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48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No, </a:t>
            </a:r>
            <a:r>
              <a:rPr lang="nl-NL" dirty="0" err="1"/>
              <a:t>because</a:t>
            </a:r>
            <a:r>
              <a:rPr lang="nl-NL" dirty="0"/>
              <a:t> loops (counters) in a FSM are </a:t>
            </a:r>
            <a:br>
              <a:rPr lang="nl-NL" dirty="0"/>
            </a:br>
            <a:r>
              <a:rPr lang="nl-NL" dirty="0" err="1"/>
              <a:t>unwanted</a:t>
            </a:r>
            <a:endParaRPr lang="nl-NL" dirty="0"/>
          </a:p>
          <a:p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t</a:t>
            </a:r>
            <a:r>
              <a:rPr lang="nl-NL" dirty="0"/>
              <a:t> </a:t>
            </a:r>
            <a:r>
              <a:rPr lang="nl-NL" dirty="0" err="1"/>
              <a:t>would</a:t>
            </a:r>
            <a:r>
              <a:rPr lang="nl-NL" dirty="0"/>
              <a:t> mess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PC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ECOND solution: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contents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fsm</a:t>
            </a:r>
            <a:r>
              <a:rPr lang="nl-NL" dirty="0"/>
              <a:t> change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14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How?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we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ab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op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multiple </a:t>
            </a:r>
            <a:r>
              <a:rPr lang="nl-NL" dirty="0" err="1"/>
              <a:t>clock</a:t>
            </a:r>
            <a:r>
              <a:rPr lang="nl-NL" dirty="0"/>
              <a:t> </a:t>
            </a:r>
            <a:r>
              <a:rPr lang="nl-NL" dirty="0" err="1"/>
              <a:t>cycl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EA036-D61A-FA72-6AF7-202475FF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703" y="3154679"/>
            <a:ext cx="65341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46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is a </a:t>
            </a:r>
            <a:r>
              <a:rPr lang="nl-NL" dirty="0" err="1"/>
              <a:t>little</a:t>
            </a:r>
            <a:r>
              <a:rPr lang="nl-NL" dirty="0"/>
              <a:t> bit diffe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004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Acknowledge</a:t>
            </a:r>
            <a:r>
              <a:rPr lang="nl-NL" dirty="0"/>
              <a:t>!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1375DD-EB0B-FE29-2EA6-6F9E07220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830" y="2583629"/>
            <a:ext cx="5129893" cy="2651760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632EC2CC-23FF-3DE4-5F8D-5BA14BEDD6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830" y="6102001"/>
            <a:ext cx="10144125" cy="581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33A531-E2F4-C7F6-9E84-1427AF520109}"/>
              </a:ext>
            </a:extLst>
          </p:cNvPr>
          <p:cNvSpPr/>
          <p:nvPr/>
        </p:nvSpPr>
        <p:spPr>
          <a:xfrm>
            <a:off x="4720590" y="6102000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489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4A0078-8C6C-21E9-75FB-ABE570889F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07C19-91BD-2355-8F8D-0C7DE9AFF09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/>
              <a:t>It’s natively baked i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D1817E-AC02-21B5-BEF5-42504A6956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How does microstore </a:t>
            </a:r>
            <a:r>
              <a:rPr lang="nl-NL" dirty="0" err="1"/>
              <a:t>know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datapath</a:t>
            </a:r>
            <a:r>
              <a:rPr lang="nl-NL" dirty="0"/>
              <a:t> is ready?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A5A9EC-0DB8-F597-15A6-EB13E05E5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022" y="1611629"/>
            <a:ext cx="67722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367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967223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3014661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6852000" y="3932614"/>
            <a:ext cx="350901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8337499-D9E2-4B8A-CE70-B9C964A8CC4A}"/>
              </a:ext>
            </a:extLst>
          </p:cNvPr>
          <p:cNvSpPr txBox="1"/>
          <p:nvPr/>
        </p:nvSpPr>
        <p:spPr>
          <a:xfrm>
            <a:off x="756000" y="1498806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>
                <a:latin typeface="+mj-lt"/>
              </a:rPr>
              <a:t>Requirements</a:t>
            </a:r>
            <a:endParaRPr lang="sv-SE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+mj-lt"/>
              </a:rPr>
              <a:t>oad the contents of a memory address and display it using the seven-segment displays</a:t>
            </a:r>
          </a:p>
        </p:txBody>
      </p:sp>
    </p:spTree>
    <p:extLst>
      <p:ext uri="{BB962C8B-B14F-4D97-AF65-F5344CB8AC3E}">
        <p14:creationId xmlns:p14="http://schemas.microsoft.com/office/powerpoint/2010/main" val="29715794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B51D5-A5B2-5007-67DD-F765B6F02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333EA-EF62-AA5F-9883-3A50A3E287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sv-SE" dirty="0">
                <a:latin typeface="+mj-lt"/>
              </a:rPr>
              <a:t>2 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w signal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d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o the controlle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llowin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DEBUG to ste</a:t>
            </a:r>
            <a:r>
              <a:rPr lang="sv-SE" altLang="sv-SE" dirty="0">
                <a:latin typeface="+mj-lt"/>
              </a:rPr>
              <a:t>p </a:t>
            </a:r>
            <a:r>
              <a:rPr lang="sv-SE" altLang="sv-SE" dirty="0" err="1">
                <a:latin typeface="+mj-lt"/>
              </a:rPr>
              <a:t>through</a:t>
            </a:r>
            <a:r>
              <a:rPr lang="sv-SE" altLang="sv-SE" dirty="0">
                <a:latin typeface="+mj-lt"/>
              </a:rPr>
              <a:t> the </a:t>
            </a:r>
            <a:r>
              <a:rPr lang="sv-SE" altLang="sv-SE" dirty="0" err="1">
                <a:latin typeface="+mj-lt"/>
              </a:rPr>
              <a:t>code</a:t>
            </a:r>
            <a:r>
              <a:rPr lang="sv-SE" altLang="sv-SE" dirty="0">
                <a:latin typeface="+mj-lt"/>
              </a:rPr>
              <a:t> 1 </a:t>
            </a:r>
            <a:r>
              <a:rPr lang="sv-SE" altLang="sv-SE" dirty="0" err="1">
                <a:latin typeface="+mj-lt"/>
              </a:rPr>
              <a:t>line</a:t>
            </a:r>
            <a:r>
              <a:rPr lang="sv-SE" altLang="sv-SE" dirty="0">
                <a:latin typeface="+mj-lt"/>
              </a:rPr>
              <a:t> at a </a:t>
            </a:r>
            <a:r>
              <a:rPr lang="sv-SE" altLang="sv-SE" dirty="0" err="1">
                <a:latin typeface="+mj-lt"/>
              </a:rPr>
              <a:t>time</a:t>
            </a:r>
            <a:r>
              <a:rPr lang="sv-SE" altLang="sv-SE" dirty="0">
                <a:latin typeface="+mj-lt"/>
              </a:rPr>
              <a:t>.</a:t>
            </a: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” is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f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debug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witch is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turned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on.</a:t>
            </a:r>
          </a:p>
          <a:p>
            <a:endParaRPr lang="sv-SE" altLang="sv-SE" dirty="0">
              <a:latin typeface="+mj-lt"/>
            </a:endParaRPr>
          </a:p>
          <a:p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”DEBUG_NEXT” is 1 for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xactly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1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lock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ycl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e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a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user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resses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the '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xt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ne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' </a:t>
            </a:r>
            <a:r>
              <a:rPr kumimoji="0" lang="sv-SE" altLang="sv-S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utton</a:t>
            </a:r>
            <a:r>
              <a:rPr kumimoji="0" lang="sv-SE" altLang="sv-S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 </a:t>
            </a: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r>
              <a:rPr lang="sv-SE" altLang="sv-SE" dirty="0" err="1">
                <a:latin typeface="+mj-lt"/>
              </a:rPr>
              <a:t>Debug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harder</a:t>
            </a:r>
            <a:r>
              <a:rPr lang="sv-SE" altLang="sv-SE" dirty="0">
                <a:latin typeface="+mj-lt"/>
              </a:rPr>
              <a:t> to </a:t>
            </a:r>
            <a:r>
              <a:rPr lang="sv-SE" altLang="sv-SE" dirty="0" err="1">
                <a:latin typeface="+mj-lt"/>
              </a:rPr>
              <a:t>realize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with</a:t>
            </a:r>
            <a:r>
              <a:rPr lang="sv-SE" altLang="sv-SE" dirty="0">
                <a:latin typeface="+mj-lt"/>
              </a:rPr>
              <a:t> </a:t>
            </a:r>
            <a:r>
              <a:rPr lang="sv-SE" altLang="sv-SE" dirty="0" err="1">
                <a:latin typeface="+mj-lt"/>
              </a:rPr>
              <a:t>microstore</a:t>
            </a:r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sv-SE" altLang="sv-SE" dirty="0">
              <a:latin typeface="+mj-lt"/>
            </a:endParaRPr>
          </a:p>
          <a:p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indent="0">
              <a:buNone/>
            </a:pPr>
            <a:endParaRPr kumimoji="0" lang="sv-SE" altLang="sv-SE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ECD8B5-A517-9113-F811-125C2C4E88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bug mode</a:t>
            </a:r>
            <a:endParaRPr lang="en-US" dirty="0"/>
          </a:p>
        </p:txBody>
      </p:sp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C8E65D63-A0FD-C8E4-B923-62BE20DC2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3705487"/>
            <a:ext cx="10144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7883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So</a:t>
            </a:r>
            <a:r>
              <a:rPr lang="nl-NL" dirty="0"/>
              <a:t>, </a:t>
            </a:r>
            <a:r>
              <a:rPr lang="nl-NL" dirty="0" err="1"/>
              <a:t>what</a:t>
            </a:r>
            <a:r>
              <a:rPr lang="nl-NL" dirty="0"/>
              <a:t> have we </a:t>
            </a:r>
            <a:r>
              <a:rPr lang="nl-NL" dirty="0" err="1"/>
              <a:t>learned</a:t>
            </a:r>
            <a:r>
              <a:rPr lang="nl-NL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9683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</a:p>
          <a:p>
            <a:pPr>
              <a:spcBef>
                <a:spcPts val="600"/>
              </a:spcBef>
            </a:pPr>
            <a:r>
              <a:rPr lang="en-US" dirty="0">
                <a:highlight>
                  <a:srgbClr val="FFFF00"/>
                </a:highlight>
              </a:rPr>
              <a:t>Debugging can be easily implemented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</a:p>
          <a:p>
            <a:pPr>
              <a:spcBef>
                <a:spcPts val="600"/>
              </a:spcBef>
            </a:pPr>
            <a:r>
              <a:rPr lang="nl-NL" dirty="0" err="1">
                <a:highlight>
                  <a:srgbClr val="FFFF00"/>
                </a:highlight>
              </a:rPr>
              <a:t>Halting</a:t>
            </a:r>
            <a:r>
              <a:rPr lang="nl-NL" dirty="0">
                <a:highlight>
                  <a:srgbClr val="FFFF00"/>
                </a:highlight>
              </a:rPr>
              <a:t> is </a:t>
            </a:r>
            <a:r>
              <a:rPr lang="nl-NL" dirty="0" err="1">
                <a:highlight>
                  <a:srgbClr val="FFFF00"/>
                </a:highlight>
              </a:rPr>
              <a:t>easier</a:t>
            </a:r>
            <a:endParaRPr lang="nl-NL" dirty="0">
              <a:highlight>
                <a:srgbClr val="FFFF00"/>
              </a:highlight>
            </a:endParaRPr>
          </a:p>
          <a:p>
            <a:pPr>
              <a:spcBef>
                <a:spcPts val="600"/>
              </a:spcBef>
            </a:pPr>
            <a:r>
              <a:rPr lang="nl-NL" dirty="0">
                <a:highlight>
                  <a:srgbClr val="FFFF00"/>
                </a:highlight>
              </a:rPr>
              <a:t>No </a:t>
            </a:r>
            <a:r>
              <a:rPr lang="nl-NL" dirty="0" err="1">
                <a:highlight>
                  <a:srgbClr val="FFFF00"/>
                </a:highlight>
              </a:rPr>
              <a:t>problems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with</a:t>
            </a:r>
            <a:r>
              <a:rPr lang="nl-NL" dirty="0">
                <a:highlight>
                  <a:srgbClr val="FFFF00"/>
                </a:highlight>
              </a:rPr>
              <a:t> </a:t>
            </a:r>
            <a:r>
              <a:rPr lang="nl-NL" dirty="0" err="1">
                <a:highlight>
                  <a:srgbClr val="FFFF00"/>
                </a:highlight>
              </a:rPr>
              <a:t>longer</a:t>
            </a:r>
            <a:r>
              <a:rPr lang="nl-NL" dirty="0">
                <a:highlight>
                  <a:srgbClr val="FFFF00"/>
                </a:highlight>
              </a:rPr>
              <a:t> ALU </a:t>
            </a:r>
            <a:r>
              <a:rPr lang="nl-NL" dirty="0" err="1">
                <a:highlight>
                  <a:srgbClr val="FFFF00"/>
                </a:highlight>
              </a:rPr>
              <a:t>instruction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4335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527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A3E9E-D541-95B8-04D1-C1F00776E1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99D13-C3BD-F11B-6F6B-20790EFBC2C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A4F8E-0DF6-EC85-907A-E4D62439CE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382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88616-8AAC-FF1F-2E21-9D17C546958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</a:t>
            </a:r>
            <a:r>
              <a:rPr lang="en-US" dirty="0"/>
              <a:t>summarize</a:t>
            </a:r>
            <a:r>
              <a:rPr lang="nl-NL" dirty="0"/>
              <a:t> </a:t>
            </a:r>
            <a:r>
              <a:rPr lang="nl-NL" dirty="0" err="1"/>
              <a:t>quickly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FSM? Microstore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717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inite</a:t>
            </a:r>
            <a:r>
              <a:rPr lang="nl-NL" dirty="0"/>
              <a:t> state machine (</a:t>
            </a:r>
            <a:r>
              <a:rPr lang="nl-NL" dirty="0" err="1"/>
              <a:t>fsm</a:t>
            </a:r>
            <a:r>
              <a:rPr lang="nl-NL" dirty="0"/>
              <a:t>)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860F778-2C6F-6383-8A02-EEA5974B235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FCCDDDB3-EE51-1852-7B8A-464E8D7FC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0"/>
            <a:ext cx="1121664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FE437C3-8DBF-6D62-5EC1-41F121FA2B28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6B9914D-4B72-B4EE-D5CC-3B1DEE0A8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2DAB5F-0D13-0075-2B42-1FEFE1D160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B7EB2B9-6840-CD27-E32E-B537B93735C3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BF6A6A-DE55-C256-215C-371CD8460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8300" y="0"/>
            <a:ext cx="67403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9D17096-0A26-492E-D578-D280ABA84C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Microstore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3623920-F3DE-8E68-B117-4DC511265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897" y="0"/>
            <a:ext cx="7377781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8EEFF6-2AD0-5385-162A-9A58F9CD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6300" y="-3871"/>
            <a:ext cx="737778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6A13ACD-FE32-C339-04E1-1B82404A8982}"/>
              </a:ext>
            </a:extLst>
          </p:cNvPr>
          <p:cNvSpPr/>
          <p:nvPr/>
        </p:nvSpPr>
        <p:spPr>
          <a:xfrm>
            <a:off x="-571500" y="-582930"/>
            <a:ext cx="13121640" cy="7840980"/>
          </a:xfrm>
          <a:prstGeom prst="rect">
            <a:avLst/>
          </a:prstGeom>
          <a:solidFill>
            <a:srgbClr val="231F20">
              <a:alpha val="14902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EB5640-5665-73ED-102C-752039F19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892" y="1816029"/>
            <a:ext cx="6810375" cy="15621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9392776-AFCD-F0B1-DC73-A8049F6F9E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8010" y="3996000"/>
            <a:ext cx="4038318" cy="281973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C5C7A-BCF5-7321-AAF3-B38CF0EA39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4318" y="5176521"/>
            <a:ext cx="5224238" cy="16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167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81B64-DAC1-2B28-1746-040870FF9A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A4EEB-C046-778E-4385-E376A1AF80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Quite elegant for small instruction sets</a:t>
            </a:r>
          </a:p>
          <a:p>
            <a:pPr>
              <a:spcBef>
                <a:spcPts val="600"/>
              </a:spcBef>
            </a:pPr>
            <a:r>
              <a:rPr lang="en-US" dirty="0"/>
              <a:t>Human readable</a:t>
            </a:r>
            <a:br>
              <a:rPr lang="en-US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nl-NL" dirty="0" err="1"/>
              <a:t>Can</a:t>
            </a:r>
            <a:r>
              <a:rPr lang="nl-NL" dirty="0"/>
              <a:t> get </a:t>
            </a:r>
            <a:r>
              <a:rPr lang="nl-NL" dirty="0" err="1"/>
              <a:t>quite</a:t>
            </a:r>
            <a:r>
              <a:rPr lang="nl-NL" dirty="0"/>
              <a:t> larg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BA2EA-1277-3835-0928-1F50E3A904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l-NL" dirty="0" err="1"/>
              <a:t>Scales</a:t>
            </a:r>
            <a:r>
              <a:rPr lang="nl-NL" dirty="0"/>
              <a:t> </a:t>
            </a:r>
            <a:r>
              <a:rPr lang="nl-NL" dirty="0" err="1"/>
              <a:t>better</a:t>
            </a:r>
            <a:r>
              <a:rPr lang="nl-NL" dirty="0"/>
              <a:t> for </a:t>
            </a:r>
            <a:r>
              <a:rPr lang="nl-NL" dirty="0" err="1"/>
              <a:t>larger</a:t>
            </a:r>
            <a:r>
              <a:rPr lang="nl-NL" dirty="0"/>
              <a:t> </a:t>
            </a:r>
            <a:r>
              <a:rPr lang="nl-NL" dirty="0" err="1"/>
              <a:t>instruction</a:t>
            </a:r>
            <a:r>
              <a:rPr lang="nl-NL" dirty="0"/>
              <a:t> sets</a:t>
            </a:r>
            <a:br>
              <a:rPr lang="nl-NL" dirty="0"/>
            </a:br>
            <a:br>
              <a:rPr lang="nl-NL" dirty="0"/>
            </a:b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Not human readable</a:t>
            </a:r>
          </a:p>
          <a:p>
            <a:pPr>
              <a:spcBef>
                <a:spcPts val="600"/>
              </a:spcBef>
            </a:pPr>
            <a:r>
              <a:rPr lang="en-US" dirty="0"/>
              <a:t>Requires a large LUT small instruction sets</a:t>
            </a:r>
          </a:p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8BCF98B-5ED0-5129-DF5B-5DAAF14B32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FSM						  Microsto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0AF20-1174-284F-FCFA-27F6756FD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hypothes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49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5055DE-DF89-081F-8F7F-E86CDEB8B1A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854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1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D3371-F9DA-6D73-FEC0-1FE01D423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4165AE9-5333-5528-B721-35B007B3B09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756000" y="3661472"/>
            <a:ext cx="10144125" cy="5810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BF392D-ACC2-BB02-7836-2D4C6BE2DC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 </a:t>
            </a:r>
            <a:r>
              <a:rPr lang="nl-NL" dirty="0" err="1"/>
              <a:t>implications</a:t>
            </a:r>
            <a:r>
              <a:rPr lang="nl-NL" dirty="0"/>
              <a:t> of </a:t>
            </a:r>
            <a:r>
              <a:rPr lang="nl-NL" dirty="0" err="1"/>
              <a:t>using</a:t>
            </a:r>
            <a:r>
              <a:rPr lang="nl-NL" dirty="0"/>
              <a:t> a FS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62912-486D-7346-ED3C-62D1E18DB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00" y="2724150"/>
            <a:ext cx="2962275" cy="7048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56DC4A-1D7B-54BB-6902-120646CD34DE}"/>
              </a:ext>
            </a:extLst>
          </p:cNvPr>
          <p:cNvSpPr/>
          <p:nvPr/>
        </p:nvSpPr>
        <p:spPr>
          <a:xfrm>
            <a:off x="3051810" y="3661472"/>
            <a:ext cx="1588770" cy="581025"/>
          </a:xfrm>
          <a:prstGeom prst="rect">
            <a:avLst/>
          </a:prstGeom>
          <a:solidFill>
            <a:srgbClr val="FFFF00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86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4FEE6EF882A4FB70A5A26077DCAED" ma:contentTypeVersion="13" ma:contentTypeDescription="Create a new document." ma:contentTypeScope="" ma:versionID="49e41bc9d5bad482001e11fc9ad83f04">
  <xsd:schema xmlns:xsd="http://www.w3.org/2001/XMLSchema" xmlns:xs="http://www.w3.org/2001/XMLSchema" xmlns:p="http://schemas.microsoft.com/office/2006/metadata/properties" xmlns:ns2="727c934d-a4f9-455c-bd3c-4ed24313c07b" xmlns:ns3="7588473b-5163-453d-a6f6-dc82b1d277ac" targetNamespace="http://schemas.microsoft.com/office/2006/metadata/properties" ma:root="true" ma:fieldsID="e2d013fa9b88713dff642a71ae94edac" ns2:_="" ns3:_="">
    <xsd:import namespace="727c934d-a4f9-455c-bd3c-4ed24313c07b"/>
    <xsd:import namespace="7588473b-5163-453d-a6f6-dc82b1d277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c934d-a4f9-455c-bd3c-4ed24313c0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88473b-5163-453d-a6f6-dc82b1d277a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0D6049-F084-4BFF-8539-2F9990EFC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7c934d-a4f9-455c-bd3c-4ed24313c07b"/>
    <ds:schemaRef ds:uri="7588473b-5163-453d-a6f6-dc82b1d277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761</TotalTime>
  <Words>431</Words>
  <Application>Microsoft Office PowerPoint</Application>
  <PresentationFormat>Bredbild</PresentationFormat>
  <Paragraphs>81</Paragraphs>
  <Slides>27</Slides>
  <Notes>0</Notes>
  <HiddenSlides>0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8</vt:i4>
      </vt:variant>
      <vt:variant>
        <vt:lpstr>Bildrubriker</vt:lpstr>
      </vt:variant>
      <vt:variant>
        <vt:i4>27</vt:i4>
      </vt:variant>
    </vt:vector>
  </HeadingPairs>
  <TitlesOfParts>
    <vt:vector size="38" baseType="lpstr">
      <vt:lpstr>Arial</vt:lpstr>
      <vt:lpstr>Arial Narrow</vt:lpstr>
      <vt:lpstr>Calibr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he implications of picking A FSM over microstore</vt:lpstr>
      <vt:lpstr>Our presentation is a little bit different</vt:lpstr>
      <vt:lpstr>FSM? Microstore? </vt:lpstr>
      <vt:lpstr>Finite state machine (fsm)</vt:lpstr>
      <vt:lpstr>Microstore</vt:lpstr>
      <vt:lpstr>Our hypothesis</vt:lpstr>
      <vt:lpstr>The implications of using a FSM</vt:lpstr>
      <vt:lpstr>The implications of using a FSM</vt:lpstr>
      <vt:lpstr>The implications of using a FSM</vt:lpstr>
      <vt:lpstr>How do WE halt?</vt:lpstr>
      <vt:lpstr>How do WE halt?</vt:lpstr>
      <vt:lpstr>How do WE halt?</vt:lpstr>
      <vt:lpstr>How do WE halt?</vt:lpstr>
      <vt:lpstr>Halting in microstore?</vt:lpstr>
      <vt:lpstr>Halting in microstore?</vt:lpstr>
      <vt:lpstr>How do we know that the datapath is ready?</vt:lpstr>
      <vt:lpstr>First solution: can we get every operation done in one cycle?</vt:lpstr>
      <vt:lpstr>SECOND solution: can the contents of the fsm change?</vt:lpstr>
      <vt:lpstr>So, we need to able able to cope with multiple clock cycles</vt:lpstr>
      <vt:lpstr>Acknowledge!</vt:lpstr>
      <vt:lpstr>How does microstore know that the datapath is ready?</vt:lpstr>
      <vt:lpstr>DEBUG MODE</vt:lpstr>
      <vt:lpstr>Debug mode</vt:lpstr>
      <vt:lpstr>So, what have we learned?</vt:lpstr>
      <vt:lpstr>Our hypothesis</vt:lpstr>
      <vt:lpstr>Conclus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itle 1</dc:title>
  <dc:creator>Redeker, S. (Stach, Student B-EE)</dc:creator>
  <dc:description>Template by HQ Solutions</dc:description>
  <cp:lastModifiedBy>Fabian Widlund</cp:lastModifiedBy>
  <cp:revision>55</cp:revision>
  <dcterms:created xsi:type="dcterms:W3CDTF">2022-11-07T08:19:15Z</dcterms:created>
  <dcterms:modified xsi:type="dcterms:W3CDTF">2022-11-08T14:33:27Z</dcterms:modified>
  <cp:version>004</cp:version>
</cp:coreProperties>
</file>